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1691" r:id="rId3"/>
    <p:sldId id="1740" r:id="rId4"/>
    <p:sldId id="1690" r:id="rId5"/>
    <p:sldId id="1739" r:id="rId6"/>
    <p:sldId id="1741" r:id="rId7"/>
    <p:sldId id="1727" r:id="rId8"/>
    <p:sldId id="1742" r:id="rId9"/>
    <p:sldId id="1744" r:id="rId10"/>
    <p:sldId id="1743" r:id="rId11"/>
    <p:sldId id="1745" r:id="rId12"/>
    <p:sldId id="1747" r:id="rId13"/>
    <p:sldId id="1748" r:id="rId14"/>
    <p:sldId id="261" r:id="rId15"/>
  </p:sldIdLst>
  <p:sldSz cx="12192000" cy="6858000"/>
  <p:notesSz cx="6858000" cy="9144000"/>
  <p:custDataLst>
    <p:tags r:id="rId1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93E0"/>
    <a:srgbClr val="FCF2F1"/>
    <a:srgbClr val="0088D3"/>
    <a:srgbClr val="4B62E4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50" autoAdjust="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58D71A18-B9C3-4986-BCC8-424CC148A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693BEB7D-1537-4379-B247-4E84B9DDE1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1A802-43AB-40BA-9799-929F03C8AD32}" type="datetimeFigureOut">
              <a:rPr lang="zh-CN" altLang="en-US" smtClean="0"/>
              <a:t>2019/4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91B0A67-9F47-4B2F-AADF-2ED9E62A8F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8108E24-1541-4A47-9620-367307CB1D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FA3855-118D-4C8F-9F70-A429C062A4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6767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4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0653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9547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0311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45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1486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3836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612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7BADE8C-02A2-4B7E-BA2D-A9D9E7CA1110}"/>
              </a:ext>
            </a:extLst>
          </p:cNvPr>
          <p:cNvGrpSpPr/>
          <p:nvPr userDrawn="1"/>
        </p:nvGrpSpPr>
        <p:grpSpPr>
          <a:xfrm>
            <a:off x="0" y="-381309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52776843-4F0E-4A4A-A9BB-8C8060073EAB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7182EA01-2217-4E29-932B-DE435D8B7A9A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C362653-F0B5-4344-A723-246F0A3AA81C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DF12946-8EAB-417C-BE89-A4FB5FB0B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2E876C8-EECD-4573-BAD0-B79A5D5D6F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8BDF66-4450-4C02-ADF5-4DBA653D4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D27D990-C8ED-4356-8DCB-7847215B4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058544" y="3308429"/>
            <a:ext cx="550024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058544" y="2294202"/>
            <a:ext cx="5500241" cy="108713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58544" y="4762999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58544" y="5059270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6EB0D097-522D-4F9B-B2F1-BF2A22DAB062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A7C62282-0C35-4432-A0DB-40C4949A21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B24BE6D-E6ED-4240-8496-5192A9C45DDA}"/>
              </a:ext>
            </a:extLst>
          </p:cNvPr>
          <p:cNvSpPr/>
          <p:nvPr userDrawn="1"/>
        </p:nvSpPr>
        <p:spPr>
          <a:xfrm>
            <a:off x="4124421" y="1878920"/>
            <a:ext cx="7501521" cy="3236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283202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284318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FD8F14F5-09A2-449C-A485-C1A9FB02A14A}"/>
              </a:ext>
            </a:extLst>
          </p:cNvPr>
          <p:cNvSpPr/>
          <p:nvPr userDrawn="1"/>
        </p:nvSpPr>
        <p:spPr>
          <a:xfrm rot="20725254" flipH="1">
            <a:off x="-744778" y="-381309"/>
            <a:ext cx="5451830" cy="8055151"/>
          </a:xfrm>
          <a:custGeom>
            <a:avLst/>
            <a:gdLst>
              <a:gd name="connsiteX0" fmla="*/ 0 w 5451830"/>
              <a:gd name="connsiteY0" fmla="*/ 968984 h 8055151"/>
              <a:gd name="connsiteX1" fmla="*/ 3725560 w 5451830"/>
              <a:gd name="connsiteY1" fmla="*/ 0 h 8055151"/>
              <a:gd name="connsiteX2" fmla="*/ 5451830 w 5451830"/>
              <a:gd name="connsiteY2" fmla="*/ 6637180 h 8055151"/>
              <a:gd name="connsiteX3" fmla="*/ 0 w 5451830"/>
              <a:gd name="connsiteY3" fmla="*/ 8055151 h 805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1830" h="8055151">
                <a:moveTo>
                  <a:pt x="0" y="968984"/>
                </a:moveTo>
                <a:lnTo>
                  <a:pt x="3725560" y="0"/>
                </a:lnTo>
                <a:lnTo>
                  <a:pt x="5451830" y="6637180"/>
                </a:lnTo>
                <a:lnTo>
                  <a:pt x="0" y="8055151"/>
                </a:lnTo>
                <a:close/>
              </a:path>
            </a:pathLst>
          </a:custGeom>
          <a:blipFill>
            <a:blip r:embed="rId2"/>
            <a:stretch>
              <a:fillRect l="-51387" r="-5117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943A837-226A-4BBC-B76A-620BFF9D4D36}"/>
              </a:ext>
            </a:extLst>
          </p:cNvPr>
          <p:cNvGrpSpPr/>
          <p:nvPr userDrawn="1"/>
        </p:nvGrpSpPr>
        <p:grpSpPr>
          <a:xfrm flipH="1">
            <a:off x="1378857" y="1823171"/>
            <a:ext cx="4240972" cy="5044581"/>
            <a:chOff x="2422605" y="3049588"/>
            <a:chExt cx="3209925" cy="3818164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202F376D-B437-4ACB-9363-C810AC4ED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8081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6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EF0BCEC2-64DC-4263-8E3A-E29E0FA234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2605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1E1918-1780-4938-9469-F8957FD5E22E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7E73747-A3C5-4438-ACC1-E91ED2070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29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29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页脚占位符 2">
            <a:extLst>
              <a:ext uri="{FF2B5EF4-FFF2-40B4-BE49-F238E27FC236}">
                <a16:creationId xmlns:a16="http://schemas.microsoft.com/office/drawing/2014/main" id="{5F218A13-C4F4-425E-9E2D-124C5976B9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26325CD-3534-48BD-B913-00A3D3D752CD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860F57E-2A9F-4F21-8575-BDDCD10A8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D35BB0F-6595-4248-8F3F-60725A4F4DF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AF3746-BA4C-4F58-A6DC-BFD259476294}"/>
              </a:ext>
            </a:extLst>
          </p:cNvPr>
          <p:cNvGrpSpPr/>
          <p:nvPr userDrawn="1"/>
        </p:nvGrpSpPr>
        <p:grpSpPr>
          <a:xfrm flipH="1">
            <a:off x="-744651" y="-380042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A1EA6103-4134-45A9-A1E0-4035CA63964A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31ABEA50-7B8E-4383-8304-23C2AC41CF31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F26911E-9362-4A61-96BC-00FE0DB826D2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3D0EB89-B118-482F-88CE-FFDF8637ED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C7800AD-5209-4241-9B4D-8184FF203F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A431533-D8DF-4945-9031-0A911E36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27C2A4EF-75D3-489E-8E78-456B63709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245642" y="1895559"/>
            <a:ext cx="527484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45642" y="4327823"/>
            <a:ext cx="527484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20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5644" y="4031552"/>
            <a:ext cx="527484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7E2CA79-7DD1-408F-9A7C-3F31A9F5501C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A8D8564-F645-40B4-950B-BB7DFBA773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4/29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8EAA1D-228D-440D-8915-9672B155DC84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D63B927-2A00-4CC1-B76D-343CB0A80A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5B2907A1-58F7-4C00-8B3D-28BE4AD56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ea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 hidden="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7" name="文本占位符 6" hidden="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19" name="文本占位符 5">
            <a:extLst>
              <a:ext uri="{FF2B5EF4-FFF2-40B4-BE49-F238E27FC236}">
                <a16:creationId xmlns:a16="http://schemas.microsoft.com/office/drawing/2014/main" id="{47D146D6-3067-4879-AAB3-264AC92465F1}"/>
              </a:ext>
            </a:extLst>
          </p:cNvPr>
          <p:cNvSpPr txBox="1">
            <a:spLocks/>
          </p:cNvSpPr>
          <p:nvPr/>
        </p:nvSpPr>
        <p:spPr>
          <a:xfrm>
            <a:off x="1166104" y="3907747"/>
            <a:ext cx="6735022" cy="110514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dirty="0">
                <a:solidFill>
                  <a:schemeClr val="accent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小组成员：何之强</a:t>
            </a:r>
            <a:r>
              <a:rPr lang="en-US" altLang="zh-CN" sz="2800" dirty="0">
                <a:solidFill>
                  <a:schemeClr val="accent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sz="2800" dirty="0">
                <a:solidFill>
                  <a:schemeClr val="accent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赵震 赵航 王钦松</a:t>
            </a:r>
            <a:endParaRPr lang="en-US" altLang="zh-CN" sz="2800" dirty="0">
              <a:solidFill>
                <a:schemeClr val="accent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2714A00-917F-4738-A1FD-E39FAA1E7103}"/>
              </a:ext>
            </a:extLst>
          </p:cNvPr>
          <p:cNvSpPr txBox="1"/>
          <p:nvPr/>
        </p:nvSpPr>
        <p:spPr>
          <a:xfrm>
            <a:off x="1166104" y="985422"/>
            <a:ext cx="961531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ou Only Look Once: </a:t>
            </a:r>
          </a:p>
          <a:p>
            <a:r>
              <a:rPr lang="en-US" altLang="zh-CN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ified, Real-Time Object Detection</a:t>
            </a:r>
            <a:endParaRPr lang="zh-CN" altLang="en-US" sz="4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92508AB7-590E-4C0A-B8D9-3DA16D772246}"/>
              </a:ext>
            </a:extLst>
          </p:cNvPr>
          <p:cNvSpPr/>
          <p:nvPr/>
        </p:nvSpPr>
        <p:spPr>
          <a:xfrm>
            <a:off x="0" y="6488668"/>
            <a:ext cx="70991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latin typeface="TimesNewRomanPSMT"/>
              </a:rPr>
              <a:t>2016 IEEE Conference on Computer Vision and Pattern Recogni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FDD5DE16-AAB6-4686-840A-3EA546E2965A}"/>
                  </a:ext>
                </a:extLst>
              </p:cNvPr>
              <p:cNvSpPr/>
              <p:nvPr/>
            </p:nvSpPr>
            <p:spPr>
              <a:xfrm>
                <a:off x="1137920" y="1064108"/>
                <a:ext cx="10355876" cy="32125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2800" dirty="0">
                    <a:latin typeface="NimbusRomNo9L-Regu"/>
                  </a:rPr>
                  <a:t>·Train the network for about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NimbusRomNo9L-Regu"/>
                  </a:rPr>
                  <a:t>135 epochs</a:t>
                </a:r>
                <a:r>
                  <a:rPr lang="en-US" altLang="zh-CN" sz="2800" dirty="0">
                    <a:latin typeface="NimbusRomNo9L-Regu"/>
                  </a:rPr>
                  <a:t> on the training and validation data sets from PASCAL VOC 2007 and 2012.</a:t>
                </a:r>
              </a:p>
              <a:p>
                <a:endParaRPr lang="en-US" altLang="zh-CN" sz="2800" dirty="0">
                  <a:latin typeface="NimbusRomNo9L-Regu"/>
                </a:endParaRPr>
              </a:p>
              <a:p>
                <a:r>
                  <a:rPr lang="en-US" altLang="zh-CN" sz="2800" dirty="0">
                    <a:latin typeface="NimbusRomNo9L-Regu"/>
                  </a:rPr>
                  <a:t>·Use a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NimbusRomNo9L-Regu"/>
                  </a:rPr>
                  <a:t>batch size of 64</a:t>
                </a:r>
                <a:r>
                  <a:rPr lang="en-US" altLang="zh-CN" sz="2800" dirty="0">
                    <a:latin typeface="NimbusRomNo9L-Regu"/>
                  </a:rPr>
                  <a:t>, a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NimbusRomNo9L-Regu"/>
                  </a:rPr>
                  <a:t>momentum of 0.9 </a:t>
                </a:r>
                <a:r>
                  <a:rPr lang="en-US" altLang="zh-CN" sz="2800" dirty="0">
                    <a:latin typeface="NimbusRomNo9L-Regu"/>
                  </a:rPr>
                  <a:t>and a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NimbusRomNo9L-Regu"/>
                  </a:rPr>
                  <a:t>decay of 0.0005</a:t>
                </a:r>
                <a:r>
                  <a:rPr lang="en-US" altLang="zh-CN" sz="2800" dirty="0">
                    <a:latin typeface="NimbusRomNo9L-Regu"/>
                  </a:rPr>
                  <a:t>.</a:t>
                </a:r>
              </a:p>
              <a:p>
                <a:endParaRPr lang="en-US" altLang="zh-CN" sz="2800" dirty="0">
                  <a:latin typeface="NimbusRomNo9L-Regu"/>
                </a:endParaRPr>
              </a:p>
              <a:p>
                <a:r>
                  <a:rPr lang="en-US" altLang="zh-CN" sz="2800" dirty="0">
                    <a:latin typeface="NimbusRomNo9L-Regu"/>
                  </a:rPr>
                  <a:t>·learning rate schedule</a:t>
                </a:r>
                <a:r>
                  <a:rPr lang="zh-CN" altLang="en-US" sz="2800" dirty="0">
                    <a:latin typeface="NimbusRomNo9L-Regu"/>
                  </a:rPr>
                  <a:t>：</a:t>
                </a:r>
                <a:r>
                  <a:rPr lang="en-US" altLang="zh-CN" sz="2800" dirty="0">
                    <a:latin typeface="NimbusRomNo9L-Regu"/>
                  </a:rPr>
                  <a:t>training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 sz="2800" i="1" smtClean="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sup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NimbusRomNo9L-Regu"/>
                  </a:rPr>
                  <a:t>for 75 epochs, then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−3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NimbusRomNo9L-Regu"/>
                  </a:rPr>
                  <a:t> for 30 epochs, and finally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i="1">
                            <a:latin typeface="Cambria Math" panose="02040503050406030204" pitchFamily="18" charset="0"/>
                          </a:rPr>
                          <m:t>−3</m:t>
                        </m:r>
                      </m:sup>
                    </m:sSup>
                    <m:r>
                      <a:rPr lang="en-US" altLang="zh-CN" sz="28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latin typeface="NimbusRomNo9L-Regu"/>
                  </a:rPr>
                  <a:t>for 30 epochs.</a:t>
                </a:r>
                <a:endParaRPr lang="zh-CN" altLang="en-US" sz="2800" dirty="0">
                  <a:latin typeface="NimbusRomNo9L-Regu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FDD5DE16-AAB6-4686-840A-3EA546E2965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7920" y="1064108"/>
                <a:ext cx="10355876" cy="3212546"/>
              </a:xfrm>
              <a:prstGeom prst="rect">
                <a:avLst/>
              </a:prstGeom>
              <a:blipFill>
                <a:blip r:embed="rId2"/>
                <a:stretch>
                  <a:fillRect l="-1237" t="-1898" r="-1649" b="-132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99368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BA85C3D-3859-4263-939C-2D798EB2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b="0" dirty="0"/>
              <a:t>Comparison to Other Real-Time Systems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FBA2C42-8BDF-40A8-8C67-229F1EB6B0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2284" y="1372467"/>
            <a:ext cx="7597772" cy="467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283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38901EF-25AB-4C5B-94F4-B878CA6F79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964461"/>
            <a:ext cx="11099619" cy="4929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411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7686064B-620D-4FF6-A374-9C6F75323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202461"/>
            <a:ext cx="10743503" cy="4453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077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5395037" y="2873754"/>
            <a:ext cx="2675074" cy="879539"/>
          </a:xfrm>
        </p:spPr>
        <p:txBody>
          <a:bodyPr>
            <a:normAutofit/>
          </a:bodyPr>
          <a:lstStyle/>
          <a:p>
            <a:r>
              <a:rPr lang="en-US" altLang="zh-CN" dirty="0"/>
              <a:t>Thank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E9B69A-3300-4CEA-A841-4C4ED535E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分工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0AAF8C21-3761-4984-AD0B-36CC89909F6B}"/>
              </a:ext>
            </a:extLst>
          </p:cNvPr>
          <p:cNvSpPr txBox="1"/>
          <p:nvPr/>
        </p:nvSpPr>
        <p:spPr>
          <a:xfrm>
            <a:off x="932155" y="1917576"/>
            <a:ext cx="997850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赵航：资料收集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赵震：论文研讨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王轻松：</a:t>
            </a:r>
            <a:r>
              <a:rPr lang="en-US" altLang="zh-CN" dirty="0"/>
              <a:t>ppt</a:t>
            </a:r>
            <a:r>
              <a:rPr lang="zh-CN" altLang="en-US" dirty="0"/>
              <a:t>制作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何之强：</a:t>
            </a:r>
            <a:r>
              <a:rPr lang="en-US" altLang="zh-CN" dirty="0"/>
              <a:t>ppt</a:t>
            </a:r>
            <a:r>
              <a:rPr lang="zh-CN" altLang="en-US" dirty="0"/>
              <a:t>汇报</a:t>
            </a:r>
          </a:p>
        </p:txBody>
      </p:sp>
    </p:spTree>
    <p:extLst>
      <p:ext uri="{BB962C8B-B14F-4D97-AF65-F5344CB8AC3E}">
        <p14:creationId xmlns:p14="http://schemas.microsoft.com/office/powerpoint/2010/main" val="2127047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EFE854-E379-41B1-9BFC-366E2C411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bstract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FBA5B59-E08E-49A2-919B-69C9C6F05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44785A1-CD41-44F7-B515-60F6739E0109}"/>
              </a:ext>
            </a:extLst>
          </p:cNvPr>
          <p:cNvSpPr/>
          <p:nvPr/>
        </p:nvSpPr>
        <p:spPr>
          <a:xfrm>
            <a:off x="669924" y="1600804"/>
            <a:ext cx="1131109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 frame object detection as a </a:t>
            </a:r>
            <a:r>
              <a:rPr lang="en-US" altLang="zh-CN" sz="28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ression problem 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spatially separated bounding boxes and associated class probabilities. </a:t>
            </a:r>
            <a:r>
              <a:rPr lang="en-US" altLang="zh-CN" sz="28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single neural network 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dicts bounding boxes and class probabilities directly from full images in one evaluation.</a:t>
            </a:r>
          </a:p>
          <a:p>
            <a:endParaRPr lang="en-US" altLang="zh-CN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ified architecture is extremely fast. YOLO model processes images in real-time at </a:t>
            </a:r>
            <a:r>
              <a:rPr lang="en-US" altLang="zh-CN" sz="28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5 frames per second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A smaller version of the network, Fast YOLO, processes an astounding</a:t>
            </a:r>
            <a:r>
              <a:rPr lang="en-US" altLang="zh-CN" sz="28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55 frames per second 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ile still achieving double the </a:t>
            </a:r>
            <a:r>
              <a:rPr lang="en-US" altLang="zh-CN" sz="28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P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f other real-time detectors.</a:t>
            </a:r>
            <a:endParaRPr lang="zh-CN" altLang="en-US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800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>
            <a:extLst>
              <a:ext uri="{FF2B5EF4-FFF2-40B4-BE49-F238E27FC236}">
                <a16:creationId xmlns:a16="http://schemas.microsoft.com/office/drawing/2014/main" id="{F00D9681-7949-49EB-80E7-ED8E71B23F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5230" y="1415231"/>
            <a:ext cx="8080433" cy="4171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6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8A40F975-49A5-4526-899B-F054BC859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5350" y="995898"/>
            <a:ext cx="8249109" cy="5131196"/>
          </a:xfrm>
          <a:prstGeom prst="rect">
            <a:avLst/>
          </a:prstGeom>
        </p:spPr>
      </p:pic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67884FF8-BE10-4D22-BDB4-E047CC3EE9EE}"/>
              </a:ext>
            </a:extLst>
          </p:cNvPr>
          <p:cNvCxnSpPr/>
          <p:nvPr/>
        </p:nvCxnSpPr>
        <p:spPr>
          <a:xfrm>
            <a:off x="1276575" y="3700550"/>
            <a:ext cx="1379220" cy="6858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CFE02244-F97C-4E8E-B64A-7A3A8CE56823}"/>
                  </a:ext>
                </a:extLst>
              </p:cNvPr>
              <p:cNvSpPr/>
              <p:nvPr/>
            </p:nvSpPr>
            <p:spPr>
              <a:xfrm>
                <a:off x="7790525" y="5118255"/>
                <a:ext cx="2861361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m:rPr>
                          <m:sty m:val="p"/>
                        </m:rPr>
                        <a:rPr lang="en-US" altLang="zh-CN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en-US" altLang="zh-CN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𝐵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5+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</m:t>
                      </m:r>
                      <m:r>
                        <a:rPr lang="en-US" altLang="zh-CN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CFE02244-F97C-4E8E-B64A-7A3A8CE5682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0525" y="5118255"/>
                <a:ext cx="2861361" cy="461665"/>
              </a:xfrm>
              <a:prstGeom prst="rect">
                <a:avLst/>
              </a:prstGeom>
              <a:blipFill>
                <a:blip r:embed="rId4"/>
                <a:stretch>
                  <a:fillRect b="-21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77C0F5E-DF4E-45E4-99EF-2D3697D6533A}"/>
                  </a:ext>
                </a:extLst>
              </p:cNvPr>
              <p:cNvSpPr txBox="1"/>
              <p:nvPr/>
            </p:nvSpPr>
            <p:spPr>
              <a:xfrm>
                <a:off x="7424715" y="1827258"/>
                <a:ext cx="450310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𝐶𝑜𝑛𝑓𝑖𝑑𝑒𝑛𝑐𝑒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 = </m:t>
                      </m:r>
                      <m:r>
                        <m:rPr>
                          <m:sty m:val="p"/>
                        </m:rPr>
                        <a:rPr lang="en-US" altLang="zh-CN" sz="2400" i="1" dirty="0" err="1" smtClean="0">
                          <a:latin typeface="Cambria Math" panose="02040503050406030204" pitchFamily="18" charset="0"/>
                        </a:rPr>
                        <m:t>Pr</m:t>
                      </m:r>
                      <m:r>
                        <a:rPr lang="en-US" altLang="zh-CN" sz="2400" i="1" dirty="0" err="1" smtClean="0">
                          <a:latin typeface="Cambria Math" panose="02040503050406030204" pitchFamily="18" charset="0"/>
                        </a:rPr>
                        <m:t>⁡⁡(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𝑂𝑏𝑗𝑒𝑐𝑡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)×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𝑜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𝑈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877C0F5E-DF4E-45E4-99EF-2D3697D653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24715" y="1827258"/>
                <a:ext cx="4503107" cy="369332"/>
              </a:xfrm>
              <a:prstGeom prst="rect">
                <a:avLst/>
              </a:prstGeom>
              <a:blipFill>
                <a:blip r:embed="rId5"/>
                <a:stretch>
                  <a:fillRect l="-2300" r="-1083" b="-3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C29A4B08-520F-4E8F-A5CC-9E9415D5AAF2}"/>
                  </a:ext>
                </a:extLst>
              </p:cNvPr>
              <p:cNvSpPr txBox="1"/>
              <p:nvPr/>
            </p:nvSpPr>
            <p:spPr>
              <a:xfrm>
                <a:off x="7498080" y="1199780"/>
                <a:ext cx="3048000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𝑐𝑜𝑛𝑓𝑖𝑑𝑒𝑛𝑐𝑒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C29A4B08-520F-4E8F-A5CC-9E9415D5AA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8080" y="1199780"/>
                <a:ext cx="3048000" cy="430887"/>
              </a:xfrm>
              <a:prstGeom prst="rect">
                <a:avLst/>
              </a:prstGeom>
              <a:blipFill>
                <a:blip r:embed="rId6"/>
                <a:stretch>
                  <a:fillRect r="-14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292860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EBAF86BE-2C9F-4E49-A0CB-930AE096BA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497" y="907965"/>
            <a:ext cx="11097006" cy="453407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5ED420F9-32B9-4FD0-BDF3-1008D8A25E81}"/>
                  </a:ext>
                </a:extLst>
              </p:cNvPr>
              <p:cNvSpPr txBox="1"/>
              <p:nvPr/>
            </p:nvSpPr>
            <p:spPr>
              <a:xfrm>
                <a:off x="1747520" y="5765369"/>
                <a:ext cx="920496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𝑖𝑛𝑝𝑢𝑡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altLang="zh-CN" sz="2400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400" b="0" i="1" dirty="0" smtClean="0">
                              <a:latin typeface="Cambria Math" panose="02040503050406030204" pitchFamily="18" charset="0"/>
                            </a:rPr>
                            <m:t>448, 448, 3</m:t>
                          </m:r>
                        </m:e>
                      </m:d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altLang="zh-CN" sz="2400" i="1" dirty="0" smtClean="0">
                          <a:latin typeface="Cambria Math" panose="02040503050406030204" pitchFamily="18" charset="0"/>
                        </a:rPr>
                        <m:t>=7, 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=2, 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=20,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𝑜𝑢𝑡𝑝𝑢𝑡</m:t>
                      </m:r>
                      <m:r>
                        <a:rPr lang="en-US" altLang="zh-CN" sz="2400" b="0" i="1" dirty="0" smtClean="0">
                          <a:latin typeface="Cambria Math" panose="02040503050406030204" pitchFamily="18" charset="0"/>
                        </a:rPr>
                        <m:t>=(7×7×30)</m:t>
                      </m:r>
                    </m:oMath>
                  </m:oMathPara>
                </a14:m>
                <a:endParaRPr lang="en-US" altLang="zh-CN" sz="2400" b="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5ED420F9-32B9-4FD0-BDF3-1008D8A25E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7520" y="5765369"/>
                <a:ext cx="9204960" cy="369332"/>
              </a:xfrm>
              <a:prstGeom prst="rect">
                <a:avLst/>
              </a:prstGeom>
              <a:blipFill>
                <a:blip r:embed="rId4"/>
                <a:stretch>
                  <a:fillRect b="-3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87667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AD385CA-1272-4B01-A982-88D6CEC28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Training</a:t>
            </a:r>
            <a:endParaRPr lang="zh-CN" alt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1576B03-8B63-467E-869E-7591D9522779}"/>
              </a:ext>
            </a:extLst>
          </p:cNvPr>
          <p:cNvSpPr/>
          <p:nvPr/>
        </p:nvSpPr>
        <p:spPr>
          <a:xfrm>
            <a:off x="669924" y="1602155"/>
            <a:ext cx="1019111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·Pretrain our convolutional layers on the ImageNet 1000-class competition dataset.</a:t>
            </a:r>
          </a:p>
          <a:p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·Normalize the bounding box width and height by the image width and height so that they fall between 0 and 1.</a:t>
            </a:r>
          </a:p>
          <a:p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·Use a linear activation function for the final layer and all other layers use the following leaky rectified linear(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eakyReLu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activation.</a:t>
            </a:r>
            <a:endParaRPr lang="zh-CN" altLang="en-US" sz="5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8" name="图片 47">
            <a:extLst>
              <a:ext uri="{FF2B5EF4-FFF2-40B4-BE49-F238E27FC236}">
                <a16:creationId xmlns:a16="http://schemas.microsoft.com/office/drawing/2014/main" id="{EAFF6CBF-5D6F-473F-98E0-7A42271C03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5995" y="5386512"/>
            <a:ext cx="4422094" cy="109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42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7A9AC238-5211-471C-878C-7707E5B5A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2418" y="1056362"/>
            <a:ext cx="8361724" cy="5240947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3EC36133-2014-4F1F-970B-FE9AFD557230}"/>
              </a:ext>
            </a:extLst>
          </p:cNvPr>
          <p:cNvSpPr txBox="1"/>
          <p:nvPr/>
        </p:nvSpPr>
        <p:spPr>
          <a:xfrm>
            <a:off x="497818" y="299081"/>
            <a:ext cx="268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·Loss function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4467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85A57E0C-0AED-42D7-BE80-5F887C3E6265}"/>
                  </a:ext>
                </a:extLst>
              </p:cNvPr>
              <p:cNvSpPr txBox="1"/>
              <p:nvPr/>
            </p:nvSpPr>
            <p:spPr>
              <a:xfrm>
                <a:off x="467360" y="1978541"/>
                <a:ext cx="3280513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800" i="1" smtClean="0">
                          <a:latin typeface="Cambria Math" panose="02040503050406030204" pitchFamily="18" charset="0"/>
                        </a:rPr>
                        <m:t>（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2800" i="1">
                          <a:latin typeface="Cambria Math" panose="02040503050406030204" pitchFamily="18" charset="0"/>
                        </a:rPr>
                        <m:t>）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   (100, 100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85A57E0C-0AED-42D7-BE80-5F887C3E62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360" y="1978541"/>
                <a:ext cx="3280513" cy="43088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79B35248-C44B-4832-A440-D4776ED1AE2F}"/>
                  </a:ext>
                </a:extLst>
              </p:cNvPr>
              <p:cNvSpPr txBox="1"/>
              <p:nvPr/>
            </p:nvSpPr>
            <p:spPr>
              <a:xfrm>
                <a:off x="467360" y="2998113"/>
                <a:ext cx="2882969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800" i="1" smtClean="0">
                          <a:latin typeface="Cambria Math" panose="02040503050406030204" pitchFamily="18" charset="0"/>
                        </a:rPr>
                        <m:t>（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𝑤</m:t>
                      </m:r>
                      <m:r>
                        <a:rPr lang="zh-CN" altLang="en-US" sz="2800" i="1">
                          <a:latin typeface="Cambria Math" panose="02040503050406030204" pitchFamily="18" charset="0"/>
                        </a:rPr>
                        <m:t>）</m:t>
                      </m:r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   (10, 10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79B35248-C44B-4832-A440-D4776ED1AE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360" y="2998113"/>
                <a:ext cx="2882969" cy="43088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4">
            <a:extLst>
              <a:ext uri="{FF2B5EF4-FFF2-40B4-BE49-F238E27FC236}">
                <a16:creationId xmlns:a16="http://schemas.microsoft.com/office/drawing/2014/main" id="{EAF934FB-F494-42AE-B744-8B45F2759B6A}"/>
              </a:ext>
            </a:extLst>
          </p:cNvPr>
          <p:cNvSpPr txBox="1"/>
          <p:nvPr/>
        </p:nvSpPr>
        <p:spPr>
          <a:xfrm>
            <a:off x="5191761" y="2288271"/>
            <a:ext cx="2245361" cy="8309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将目标都预测大了</a:t>
            </a:r>
            <a:r>
              <a:rPr lang="en-US" altLang="zh-CN" sz="2400" dirty="0"/>
              <a:t>10</a:t>
            </a:r>
            <a:r>
              <a:rPr lang="zh-CN" altLang="en-US" sz="2400" dirty="0"/>
              <a:t>个像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838DF405-06D9-4D8A-AABB-65C0A5D5E70D}"/>
                  </a:ext>
                </a:extLst>
              </p:cNvPr>
              <p:cNvSpPr txBox="1"/>
              <p:nvPr/>
            </p:nvSpPr>
            <p:spPr>
              <a:xfrm>
                <a:off x="9519920" y="1978541"/>
                <a:ext cx="1723742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(110, 110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838DF405-06D9-4D8A-AABB-65C0A5D5E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19920" y="1978541"/>
                <a:ext cx="1723742" cy="43088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C51B620-AF77-47F4-B8B6-CA6E6B26F399}"/>
                  </a:ext>
                </a:extLst>
              </p:cNvPr>
              <p:cNvSpPr txBox="1"/>
              <p:nvPr/>
            </p:nvSpPr>
            <p:spPr>
              <a:xfrm>
                <a:off x="9519920" y="2998112"/>
                <a:ext cx="1326197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smtClean="0">
                          <a:latin typeface="Cambria Math" panose="02040503050406030204" pitchFamily="18" charset="0"/>
                        </a:rPr>
                        <m:t>(20, 20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C51B620-AF77-47F4-B8B6-CA6E6B26F3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19920" y="2998112"/>
                <a:ext cx="1326197" cy="4308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图片 9">
            <a:extLst>
              <a:ext uri="{FF2B5EF4-FFF2-40B4-BE49-F238E27FC236}">
                <a16:creationId xmlns:a16="http://schemas.microsoft.com/office/drawing/2014/main" id="{492B4A24-0020-488C-B105-47ABB67442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8286" y="4448573"/>
            <a:ext cx="4003267" cy="1594324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28D03A7B-2CA1-486A-8FB0-A18FAB037835}"/>
              </a:ext>
            </a:extLst>
          </p:cNvPr>
          <p:cNvSpPr/>
          <p:nvPr/>
        </p:nvSpPr>
        <p:spPr>
          <a:xfrm>
            <a:off x="589280" y="1978541"/>
            <a:ext cx="3158593" cy="14504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43F5F420-DBAD-4D79-AC58-B0E1D280B369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3747873" y="2703770"/>
            <a:ext cx="1007007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>
            <a:extLst>
              <a:ext uri="{FF2B5EF4-FFF2-40B4-BE49-F238E27FC236}">
                <a16:creationId xmlns:a16="http://schemas.microsoft.com/office/drawing/2014/main" id="{A10BEC10-AD96-4767-A5DD-F415897C8A3A}"/>
              </a:ext>
            </a:extLst>
          </p:cNvPr>
          <p:cNvSpPr/>
          <p:nvPr/>
        </p:nvSpPr>
        <p:spPr>
          <a:xfrm>
            <a:off x="9519920" y="2052320"/>
            <a:ext cx="1645920" cy="13766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D23C8CB3-0CA9-4674-8047-F61EC3283D46}"/>
              </a:ext>
            </a:extLst>
          </p:cNvPr>
          <p:cNvCxnSpPr>
            <a:cxnSpLocks/>
          </p:cNvCxnSpPr>
          <p:nvPr/>
        </p:nvCxnSpPr>
        <p:spPr>
          <a:xfrm>
            <a:off x="7812569" y="2703770"/>
            <a:ext cx="155495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>
            <a:extLst>
              <a:ext uri="{FF2B5EF4-FFF2-40B4-BE49-F238E27FC236}">
                <a16:creationId xmlns:a16="http://schemas.microsoft.com/office/drawing/2014/main" id="{8C1366FC-AA44-47B6-8F8C-49C944C29C91}"/>
              </a:ext>
            </a:extLst>
          </p:cNvPr>
          <p:cNvSpPr/>
          <p:nvPr/>
        </p:nvSpPr>
        <p:spPr>
          <a:xfrm>
            <a:off x="1103560" y="5014902"/>
            <a:ext cx="44935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latin typeface="Verdana" panose="020B0604030504040204" pitchFamily="34" charset="0"/>
              </a:rPr>
              <a:t>不使用根号函数，那么损失相同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47143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c28d70c-5a22-47f0-8927-53bd5a3b54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276AA"/>
      </a:accent1>
      <a:accent2>
        <a:srgbClr val="88ACD0"/>
      </a:accent2>
      <a:accent3>
        <a:srgbClr val="A5A5A5"/>
      </a:accent3>
      <a:accent4>
        <a:srgbClr val="888888"/>
      </a:accent4>
      <a:accent5>
        <a:srgbClr val="656565"/>
      </a:accent5>
      <a:accent6>
        <a:srgbClr val="505050"/>
      </a:accent6>
      <a:hlink>
        <a:srgbClr val="4276AA"/>
      </a:hlink>
      <a:folHlink>
        <a:srgbClr val="BFBFB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24</TotalTime>
  <Words>385</Words>
  <Application>Microsoft Office PowerPoint</Application>
  <PresentationFormat>宽屏</PresentationFormat>
  <Paragraphs>50</Paragraphs>
  <Slides>14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7" baseType="lpstr">
      <vt:lpstr>NimbusRomNo9L-Regu</vt:lpstr>
      <vt:lpstr>TimesNewRomanPSMT</vt:lpstr>
      <vt:lpstr>等线</vt:lpstr>
      <vt:lpstr>黑体</vt:lpstr>
      <vt:lpstr>宋体</vt:lpstr>
      <vt:lpstr>微软雅黑</vt:lpstr>
      <vt:lpstr>Arial</vt:lpstr>
      <vt:lpstr>Calibri</vt:lpstr>
      <vt:lpstr>Cambria Math</vt:lpstr>
      <vt:lpstr>Times New Roman</vt:lpstr>
      <vt:lpstr>Verdana</vt:lpstr>
      <vt:lpstr>主题5</vt:lpstr>
      <vt:lpstr>think-cell Slide</vt:lpstr>
      <vt:lpstr>PowerPoint 演示文稿</vt:lpstr>
      <vt:lpstr>分工</vt:lpstr>
      <vt:lpstr>abstract</vt:lpstr>
      <vt:lpstr>PowerPoint 演示文稿</vt:lpstr>
      <vt:lpstr>PowerPoint 演示文稿</vt:lpstr>
      <vt:lpstr>PowerPoint 演示文稿</vt:lpstr>
      <vt:lpstr>Training</vt:lpstr>
      <vt:lpstr>PowerPoint 演示文稿</vt:lpstr>
      <vt:lpstr>PowerPoint 演示文稿</vt:lpstr>
      <vt:lpstr>PowerPoint 演示文稿</vt:lpstr>
      <vt:lpstr>Comparison to Other Real-Time Systems</vt:lpstr>
      <vt:lpstr>PowerPoint 演示文稿</vt:lpstr>
      <vt:lpstr>PowerPoint 演示文稿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江林 何</cp:lastModifiedBy>
  <cp:revision>139</cp:revision>
  <cp:lastPrinted>2018-09-20T16:00:00Z</cp:lastPrinted>
  <dcterms:created xsi:type="dcterms:W3CDTF">2018-09-20T16:00:00Z</dcterms:created>
  <dcterms:modified xsi:type="dcterms:W3CDTF">2019-04-29T15:4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